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6" r:id="rId2"/>
    <p:sldId id="262" r:id="rId3"/>
    <p:sldId id="343" r:id="rId4"/>
    <p:sldId id="263" r:id="rId5"/>
  </p:sldIdLst>
  <p:sldSz cx="12192000" cy="6858000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01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678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8831" cy="495029"/>
          </a:xfrm>
          <a:prstGeom prst="rect">
            <a:avLst/>
          </a:prstGeom>
        </p:spPr>
        <p:txBody>
          <a:bodyPr vert="horz" lIns="90983" tIns="45490" rIns="90983" bIns="4549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5" y="1"/>
            <a:ext cx="2918831" cy="495029"/>
          </a:xfrm>
          <a:prstGeom prst="rect">
            <a:avLst/>
          </a:prstGeom>
        </p:spPr>
        <p:txBody>
          <a:bodyPr vert="horz" lIns="90983" tIns="45490" rIns="90983" bIns="45490" rtlCol="0"/>
          <a:lstStyle>
            <a:lvl1pPr algn="r">
              <a:defRPr sz="1200"/>
            </a:lvl1pPr>
          </a:lstStyle>
          <a:p>
            <a:fld id="{621F9D77-107D-4DD8-9FBC-729DF4BBE1D4}" type="datetimeFigureOut">
              <a:rPr lang="ru-RU" smtClean="0"/>
              <a:t>23.06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33488"/>
            <a:ext cx="591978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83" tIns="45490" rIns="90983" bIns="4549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2"/>
            <a:ext cx="5388610" cy="3884862"/>
          </a:xfrm>
          <a:prstGeom prst="rect">
            <a:avLst/>
          </a:prstGeom>
        </p:spPr>
        <p:txBody>
          <a:bodyPr vert="horz" lIns="90983" tIns="45490" rIns="90983" bIns="4549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1" cy="495028"/>
          </a:xfrm>
          <a:prstGeom prst="rect">
            <a:avLst/>
          </a:prstGeom>
        </p:spPr>
        <p:txBody>
          <a:bodyPr vert="horz" lIns="90983" tIns="45490" rIns="90983" bIns="4549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1" cy="495028"/>
          </a:xfrm>
          <a:prstGeom prst="rect">
            <a:avLst/>
          </a:prstGeom>
        </p:spPr>
        <p:txBody>
          <a:bodyPr vert="horz" lIns="90983" tIns="45490" rIns="90983" bIns="45490" rtlCol="0" anchor="b"/>
          <a:lstStyle>
            <a:lvl1pPr algn="r">
              <a:defRPr sz="1200"/>
            </a:lvl1pPr>
          </a:lstStyle>
          <a:p>
            <a:fld id="{5FDEB369-D082-4364-A6FE-F7FC21F677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536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DEB369-D082-4364-A6FE-F7FC21F6772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1246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DEB369-D082-4364-A6FE-F7FC21F6772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2677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" y="0"/>
            <a:ext cx="121791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0424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CE55C-2522-4EFC-BDF0-7F09CFA3D355}" type="datetime1">
              <a:rPr lang="ru-RU" smtClean="0"/>
              <a:t>23.06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6406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F275B-3615-4B6E-B04D-A1E1C065C8B8}" type="datetime1">
              <a:rPr lang="ru-RU" smtClean="0"/>
              <a:t>23.06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27966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2904A-571E-42A4-A24D-DAB9D94ACA93}" type="datetime1">
              <a:rPr lang="ru-RU" smtClean="0"/>
              <a:t>23.06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0645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6FF8E9-CF6C-4992-9F98-CEF3FB7A8FB9}" type="datetime1">
              <a:rPr lang="ru-RU" smtClean="0"/>
              <a:t>23.06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9160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A4C37-96E1-41AF-8680-3060F4628640}" type="datetime1">
              <a:rPr lang="ru-RU" smtClean="0"/>
              <a:t>23.06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73398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28252-4B5E-4F5E-B084-44FFE001650F}" type="datetime1">
              <a:rPr lang="ru-RU" smtClean="0"/>
              <a:t>23.06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16046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E45C9D-8BCD-43A9-A588-27CE58CD0C5F}" type="datetime1">
              <a:rPr lang="ru-RU" smtClean="0"/>
              <a:t>23.06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30431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7AC2B-6DA8-4751-BF38-A3DC93DE55E5}" type="datetime1">
              <a:rPr lang="ru-RU" smtClean="0"/>
              <a:t>23.06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506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79E23F-EC37-4575-B18E-6D4D223C1D84}" type="datetime1">
              <a:rPr lang="ru-RU" smtClean="0"/>
              <a:t>23.06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3744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5634F-6670-47AB-9A34-C340CF73F111}" type="datetime1">
              <a:rPr lang="ru-RU" smtClean="0"/>
              <a:t>23.06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55197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" y="0"/>
            <a:ext cx="121791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526CAE-45C1-41FD-AF08-14A1E1DAB39E}" type="datetime1">
              <a:rPr lang="ru-RU" smtClean="0"/>
              <a:t>23.06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4757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681440" y="2804826"/>
            <a:ext cx="531349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МСХ по гарантированию субъектов АПК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286577" y="6166137"/>
            <a:ext cx="53134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1219935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86">
            <a:extLst>
              <a:ext uri="{FF2B5EF4-FFF2-40B4-BE49-F238E27FC236}">
                <a16:creationId xmlns:a16="http://schemas.microsoft.com/office/drawing/2014/main" id="{F858059A-62C7-44A6-95FE-A494532EA9D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76042" y="1850143"/>
            <a:ext cx="5065529" cy="375817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04344" y="606670"/>
            <a:ext cx="79419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Гарантирование субъектов АПК – 1 направление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925013" y="1901148"/>
            <a:ext cx="5114975" cy="4001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сновные условия:</a:t>
            </a:r>
            <a:endParaRPr lang="ru-RU" altLang="ru-RU" sz="17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и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ы АПК</a:t>
            </a:r>
            <a:endParaRPr lang="ru-RU" altLang="ru-RU" sz="1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евое назначение: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нвестиции, ПОС</a:t>
            </a: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едитор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анки, Аграрная кредитная корпорация, Кредитные товарищества и Микрофинансовые организации</a:t>
            </a: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едит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5 млрд </a:t>
            </a:r>
            <a:r>
              <a:rPr lang="ru-RU" altLang="ru-RU" sz="17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г</a:t>
            </a:r>
            <a:endParaRPr lang="ru-RU" alt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я за гарантирование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20% от суммы гарантии, при этом осуществляется единовременное субсидирование не более 19,99% от суммы гарантии и заемщиком оплачивается 0,01% от суммы гарантии;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376188" y="2334345"/>
            <a:ext cx="5442161" cy="38010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вка вознаграждения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азовая ставка НБ РК + 7,5%</a:t>
            </a:r>
          </a:p>
          <a:p>
            <a:pPr marL="288456" indent="-285750"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мер гарантии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2706">
              <a:defRPr/>
            </a:pP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) </a:t>
            </a:r>
            <a:r>
              <a:rPr lang="ru-RU" altLang="ru-RU" sz="17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приоритетным проектам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до 50% от суммы основного долга, но не более 1,5 млрд </a:t>
            </a:r>
            <a:r>
              <a:rPr lang="ru-RU" altLang="ru-RU" sz="17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г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marL="2706">
              <a:defRPr/>
            </a:pP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</a:t>
            </a:r>
            <a:r>
              <a:rPr lang="ru-RU" altLang="ru-RU" sz="17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приоритетным инвестиционным проектам до ввода проекта в эксплуатацию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 более 85% от суммы основного долга, но не более 2,55 млрд </a:t>
            </a:r>
            <a:r>
              <a:rPr lang="ru-RU" altLang="ru-RU" sz="17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г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После ввода в эксплуатацию проекта и представления заемщиком его в залог кредитору размер гарантии снижается до 50% от суммы основного долга</a:t>
            </a: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ок кредита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10 лет</a:t>
            </a:r>
          </a:p>
          <a:p>
            <a:pPr marL="288456" indent="-285750">
              <a:spcBef>
                <a:spcPts val="12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ок гарантии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срока кредита</a:t>
            </a:r>
          </a:p>
        </p:txBody>
      </p:sp>
      <p:grpSp>
        <p:nvGrpSpPr>
          <p:cNvPr id="18" name="Group 19">
            <a:extLst>
              <a:ext uri="{FF2B5EF4-FFF2-40B4-BE49-F238E27FC236}">
                <a16:creationId xmlns:a16="http://schemas.microsoft.com/office/drawing/2014/main" id="{21037700-F2C8-406B-9542-01AC025C8035}"/>
              </a:ext>
            </a:extLst>
          </p:cNvPr>
          <p:cNvGrpSpPr/>
          <p:nvPr/>
        </p:nvGrpSpPr>
        <p:grpSpPr>
          <a:xfrm>
            <a:off x="6041411" y="2227453"/>
            <a:ext cx="182985" cy="3384000"/>
            <a:chOff x="7088869" y="980441"/>
            <a:chExt cx="155732" cy="4020530"/>
          </a:xfrm>
        </p:grpSpPr>
        <p:cxnSp>
          <p:nvCxnSpPr>
            <p:cNvPr id="19" name="Google Shape;276;p4">
              <a:extLst>
                <a:ext uri="{FF2B5EF4-FFF2-40B4-BE49-F238E27FC236}">
                  <a16:creationId xmlns:a16="http://schemas.microsoft.com/office/drawing/2014/main" id="{61FBE0A4-F0C2-4233-823A-1814C73A0576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1270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20" name="Google Shape;277;p4">
              <a:extLst>
                <a:ext uri="{FF2B5EF4-FFF2-40B4-BE49-F238E27FC236}">
                  <a16:creationId xmlns:a16="http://schemas.microsoft.com/office/drawing/2014/main" id="{1B65C6E6-DCB4-4A4C-828A-7CA96445799F}"/>
                </a:ext>
              </a:extLst>
            </p:cNvPr>
            <p:cNvGrpSpPr/>
            <p:nvPr/>
          </p:nvGrpSpPr>
          <p:grpSpPr>
            <a:xfrm>
              <a:off x="7088869" y="2595985"/>
              <a:ext cx="155732" cy="789447"/>
              <a:chOff x="6846057" y="1968366"/>
              <a:chExt cx="200919" cy="802802"/>
            </a:xfrm>
          </p:grpSpPr>
          <p:sp>
            <p:nvSpPr>
              <p:cNvPr id="21" name="Google Shape;278;p4">
                <a:extLst>
                  <a:ext uri="{FF2B5EF4-FFF2-40B4-BE49-F238E27FC236}">
                    <a16:creationId xmlns:a16="http://schemas.microsoft.com/office/drawing/2014/main" id="{A1F68B8F-C356-4802-8E9F-5289BBEAC2CD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25" name="Google Shape;281;p4">
                <a:extLst>
                  <a:ext uri="{FF2B5EF4-FFF2-40B4-BE49-F238E27FC236}">
                    <a16:creationId xmlns:a16="http://schemas.microsoft.com/office/drawing/2014/main" id="{3635A287-D84D-4117-BA99-91034DC87787}"/>
                  </a:ext>
                </a:extLst>
              </p:cNvPr>
              <p:cNvSpPr/>
              <p:nvPr/>
            </p:nvSpPr>
            <p:spPr>
              <a:xfrm>
                <a:off x="6889073" y="2095154"/>
                <a:ext cx="157903" cy="549228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</p:grpSp>
      </p:grp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423341" y="6492875"/>
            <a:ext cx="2743200" cy="365125"/>
          </a:xfrm>
        </p:spPr>
        <p:txBody>
          <a:bodyPr/>
          <a:lstStyle/>
          <a:p>
            <a:fld id="{D915E965-280A-43D4-8620-968D601C1B32}" type="slidenum">
              <a:rPr lang="ru-RU" smtClean="0"/>
              <a:t>2</a:t>
            </a:fld>
            <a:endParaRPr lang="ru-RU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6B82F40-D377-6834-BAB9-06101888E97D}"/>
              </a:ext>
            </a:extLst>
          </p:cNvPr>
          <p:cNvSpPr txBox="1">
            <a:spLocks/>
          </p:cNvSpPr>
          <p:nvPr/>
        </p:nvSpPr>
        <p:spPr>
          <a:xfrm>
            <a:off x="704344" y="939923"/>
            <a:ext cx="7705360" cy="6073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 altLang="ru-RU" sz="1800" i="1" u="sng" dirty="0">
                <a:solidFill>
                  <a:srgbClr val="0070C0"/>
                </a:solidFill>
              </a:rPr>
              <a:t>Инвестиционные проекты</a:t>
            </a:r>
          </a:p>
        </p:txBody>
      </p:sp>
    </p:spTree>
    <p:extLst>
      <p:ext uri="{BB962C8B-B14F-4D97-AF65-F5344CB8AC3E}">
        <p14:creationId xmlns:p14="http://schemas.microsoft.com/office/powerpoint/2010/main" val="33820040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A762F-A9F5-4407-AFC4-11D3F21C1EC6}" type="slidenum">
              <a:rPr lang="ru-RU"/>
              <a:t>3</a:t>
            </a:fld>
            <a:endParaRPr lang="ru-RU"/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318164" y="815921"/>
            <a:ext cx="4800682" cy="264111"/>
          </a:xfrm>
        </p:spPr>
        <p:txBody>
          <a:bodyPr vert="horz" lIns="121920" tIns="60960" rIns="121920" bIns="60960" rtlCol="0" anchor="ctr">
            <a:noAutofit/>
          </a:bodyPr>
          <a:lstStyle/>
          <a:p>
            <a:pPr algn="ctr"/>
            <a:r>
              <a:rPr lang="ru-RU" sz="1400" b="1" dirty="0">
                <a:solidFill>
                  <a:srgbClr val="00B050"/>
                </a:solidFill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</a:rPr>
              <a:t>Перечень отраслей по приоритетным проектам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C1AD5B0-28A2-F704-E4AD-1D232DC2240E}"/>
              </a:ext>
            </a:extLst>
          </p:cNvPr>
          <p:cNvSpPr/>
          <p:nvPr/>
        </p:nvSpPr>
        <p:spPr>
          <a:xfrm>
            <a:off x="246447" y="213142"/>
            <a:ext cx="79419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Гарантирование субъектов АПК – 1 направление</a:t>
            </a:r>
          </a:p>
        </p:txBody>
      </p:sp>
      <p:graphicFrame>
        <p:nvGraphicFramePr>
          <p:cNvPr id="11" name="Объект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66937137"/>
              </p:ext>
            </p:extLst>
          </p:nvPr>
        </p:nvGraphicFramePr>
        <p:xfrm>
          <a:off x="183328" y="1138632"/>
          <a:ext cx="6280225" cy="5623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35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6042">
                  <a:extLst>
                    <a:ext uri="{9D8B030D-6E8A-4147-A177-3AD203B41FA5}">
                      <a16:colId xmlns:a16="http://schemas.microsoft.com/office/drawing/2014/main" val="1388635054"/>
                    </a:ext>
                  </a:extLst>
                </a:gridCol>
                <a:gridCol w="3550611">
                  <a:extLst>
                    <a:ext uri="{9D8B030D-6E8A-4147-A177-3AD203B41FA5}">
                      <a16:colId xmlns:a16="http://schemas.microsoft.com/office/drawing/2014/main" val="3966922219"/>
                    </a:ext>
                  </a:extLst>
                </a:gridCol>
              </a:tblGrid>
              <a:tr h="1283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b="1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группы товаров</a:t>
                      </a:r>
                      <a:endParaRPr lang="ru-RU" sz="900" b="1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вида экономической деятельности</a:t>
                      </a:r>
                      <a:endParaRPr lang="ru-RU" dirty="0"/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301"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льское и рыбное хозяйство</a:t>
                      </a:r>
                      <a:endParaRPr lang="ru-RU" sz="900" b="1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301">
                <a:tc row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ениеводство и животноводство, и предоставление услуг в этих областях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11-Выращивание одно- или двухлетних культур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83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12-Выращивание многолетних культур</a:t>
                      </a:r>
                      <a:endParaRPr lang="ru-RU" dirty="0"/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83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13-Воспроизводство растений</a:t>
                      </a:r>
                      <a:endParaRPr lang="ru-RU" dirty="0"/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83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14-Животноводство</a:t>
                      </a:r>
                      <a:endParaRPr lang="ru-RU" dirty="0"/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83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15-Смешанное сельское хозяйство</a:t>
                      </a:r>
                      <a:endParaRPr lang="ru-RU" dirty="0"/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83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ыбоводство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32-Рыбоводство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8301"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ство продуктов питания</a:t>
                      </a:r>
                      <a:endParaRPr lang="ru-RU" sz="900" b="1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66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работка и консервирование мяса и производство мясной продукции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1-Переработка и консервирование мяса и производство мясной продукции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66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работка и консервирование рыбы, ракообразных и моллюсков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2-</a:t>
                      </a: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работка и консервирование рыбы, ракообразных и моллюсков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83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9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работка и консервирование фруктов и овощей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3-</a:t>
                      </a: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работка и консервирование фруктов и овощей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83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9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ство растительных и животных масел и жиров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4-Производство растительных и животных масел и жиров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83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ство молочных продуктов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5-Производство молочных продуктов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566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ство мукомольно-крупяных продуктов, крахмалов и крахмальных продуктов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6-Производство мукомольно-крупяных продуктов, крахмалов и крахмальных продуктов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566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ство хлебобулочных, макаронных и мучных кондитерских изделий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7-</a:t>
                      </a: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ство хлебобулочных, макаронных и мучных кондитерских изделий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8301">
                <a:tc row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ство прочих продуктов питания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1-Производство сахара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2-Производство какао, шоколада и сахаристых кондитерских изделий</a:t>
                      </a:r>
                      <a:endParaRPr lang="ru-RU" dirty="0"/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283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4-Производство пряностей и приправ</a:t>
                      </a:r>
                      <a:endParaRPr lang="ru-RU" dirty="0"/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283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6-Производство детского питания и диетических пищевых продуктов</a:t>
                      </a:r>
                      <a:endParaRPr lang="ru-RU" dirty="0"/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9-Производство прочих продуктов питания, не включенных в другие категории</a:t>
                      </a:r>
                      <a:endParaRPr lang="ru-RU" dirty="0"/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283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ство готовых кормов для животных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9-Производство готовых кормов для животных</a:t>
                      </a:r>
                      <a:endParaRPr lang="ru-RU" sz="9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28301"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i="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работка сельскохозяйственной продукции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8746184"/>
                  </a:ext>
                </a:extLst>
              </a:tr>
              <a:tr h="128301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2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изводство текстильных изделий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103-Подготовка шерстяного волокна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995554"/>
                  </a:ext>
                </a:extLst>
              </a:tr>
              <a:tr h="128301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+mn-cs"/>
                        </a:rPr>
                        <a:t>13104-Прядение шерстяного волокна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8662994"/>
                  </a:ext>
                </a:extLst>
              </a:tr>
              <a:tr h="128301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+mn-cs"/>
                        </a:rPr>
                        <a:t>13202-Производство шерстяных тканей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690366"/>
                  </a:ext>
                </a:extLst>
              </a:tr>
              <a:tr h="128301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изводство кожаной и относящейся к ней продукции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5111-Дубление и выделка кожи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4907144"/>
                  </a:ext>
                </a:extLst>
              </a:tr>
              <a:tr h="128301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+mn-cs"/>
                        </a:rPr>
                        <a:t>15113-Выделка и крашение меха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2214963"/>
                  </a:ext>
                </a:extLst>
              </a:tr>
              <a:tr h="128301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+mn-cs"/>
                        </a:rPr>
                        <a:t>15122-Производство шорно-седельных изделий</a:t>
                      </a:r>
                    </a:p>
                  </a:txBody>
                  <a:tcPr marT="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5056602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4F0DB1A-7183-21C4-E064-A0F0FDE1B2BB}"/>
              </a:ext>
            </a:extLst>
          </p:cNvPr>
          <p:cNvSpPr txBox="1">
            <a:spLocks/>
          </p:cNvSpPr>
          <p:nvPr/>
        </p:nvSpPr>
        <p:spPr>
          <a:xfrm>
            <a:off x="6891620" y="1080032"/>
            <a:ext cx="4350121" cy="450941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400" b="1" dirty="0">
                <a:solidFill>
                  <a:srgbClr val="00B050"/>
                </a:solidFill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</a:rPr>
              <a:t>Перечень отраслей по приоритетным инвестиционным проектам</a:t>
            </a:r>
          </a:p>
        </p:txBody>
      </p:sp>
      <p:graphicFrame>
        <p:nvGraphicFramePr>
          <p:cNvPr id="6" name="Объект 5">
            <a:extLst>
              <a:ext uri="{FF2B5EF4-FFF2-40B4-BE49-F238E27FC236}">
                <a16:creationId xmlns:a16="http://schemas.microsoft.com/office/drawing/2014/main" id="{7A68E78A-30C5-7F64-5491-70E9C93FB7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8278233"/>
              </p:ext>
            </p:extLst>
          </p:nvPr>
        </p:nvGraphicFramePr>
        <p:xfrm>
          <a:off x="6717271" y="1663907"/>
          <a:ext cx="4945811" cy="36241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24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93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28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b="0" i="0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i="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вида </a:t>
                      </a:r>
                      <a:r>
                        <a:rPr lang="ru-RU" sz="900" b="1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ческой деятельности</a:t>
                      </a:r>
                      <a:endParaRPr lang="ru-RU" sz="900" b="0" i="0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6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900" b="0" i="0" kern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олочно-товарные фермы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6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900" b="0" i="0" kern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зведение птицы на мясо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6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900" b="0" i="0" kern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нтенсивное садоводство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6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900" b="0" i="0" kern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Теплицы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56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900" b="0" i="0" kern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ыращивание сахарной свеклы и производство свекловичного сахара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76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900" b="0" i="0" kern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изводство круп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56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900" b="0" i="0" kern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ереработка и/или хранение овощей, фруктов и сельскохозяйственной продукции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56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900" b="0" i="0" kern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изводство растительного масла и (или) масложировой продукции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536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900" b="0" i="0" kern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ыращивание кормовых культур, картофеля и (или) овощной продукции, в том числе с использованием оросительных систем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76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900" b="0" i="0" kern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роительство племенного репродуктора в птицеводстве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76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едприятия мясного животноводства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2728778"/>
                  </a:ext>
                </a:extLst>
              </a:tr>
              <a:tr h="2376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ыбоводство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770314"/>
                  </a:ext>
                </a:extLst>
              </a:tr>
              <a:tr h="2376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i="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5000"/>
                        </a:lnSpc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ереработка шкур и шерсти сельскохозяйственных животных</a:t>
                      </a: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4133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86">
            <a:extLst>
              <a:ext uri="{FF2B5EF4-FFF2-40B4-BE49-F238E27FC236}">
                <a16:creationId xmlns:a16="http://schemas.microsoft.com/office/drawing/2014/main" id="{F858059A-62C7-44A6-95FE-A494532EA9D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76042" y="1824743"/>
            <a:ext cx="5065529" cy="375817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04344" y="606670"/>
            <a:ext cx="79419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Гарантирование субъектов АПК – 2 направление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925013" y="1875748"/>
            <a:ext cx="5114975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сновные условия:</a:t>
            </a:r>
            <a:endParaRPr lang="ru-RU" altLang="ru-RU" sz="17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и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ы АПК</a:t>
            </a:r>
            <a:endParaRPr lang="ru-RU" altLang="ru-RU" sz="1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евое назначение: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С на проведение весенне-полевых и/или уборочных работ, включая кредитование перерабатывающих предприятий на пополнение оборотных средств для последующего финансирования субъектов агропромышленного комплекса путем авансирования закупа растениеводческой продукции 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едитор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грарная кредитная корпорация, Кредитные товарищества, Банки, Региональные Инвестиционные Центры, Социально-предпринимательские Корпорации, Микрофинансовые организации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едит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1,5 млрд </a:t>
            </a:r>
            <a:r>
              <a:rPr lang="ru-RU" altLang="ru-RU" sz="17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г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376188" y="2196211"/>
            <a:ext cx="5442161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вка вознаграждения: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азовая ставка НБ РК + 7,5%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мер гарантии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85% от суммы основного долга, но не более 1,275 млрд </a:t>
            </a:r>
            <a:r>
              <a:rPr lang="ru-RU" altLang="ru-RU" sz="17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г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ок кредита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</a:t>
            </a:r>
            <a:r>
              <a:rPr lang="ru-RU" altLang="ru-RU" sz="1700">
                <a:latin typeface="Times New Roman" panose="02020603050405020304" pitchFamily="18" charset="0"/>
                <a:cs typeface="Times New Roman" panose="02020603050405020304" pitchFamily="18" charset="0"/>
              </a:rPr>
              <a:t>более 18 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с., с возможностью пролонгации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ок гарантии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срок, превышающий на 4 месяца срок кредитного договора, с возможностью пролонгации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я за гарантирование</a:t>
            </a:r>
            <a:r>
              <a:rPr lang="ru-RU" alt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не более 10% от суммы гарантии, при этом осуществляется единовременное субсидирование не более 9,99% от суммы гарантии и заемщиком оплачивается 0,01% от суммы гарантии</a:t>
            </a:r>
          </a:p>
        </p:txBody>
      </p:sp>
      <p:grpSp>
        <p:nvGrpSpPr>
          <p:cNvPr id="18" name="Group 19">
            <a:extLst>
              <a:ext uri="{FF2B5EF4-FFF2-40B4-BE49-F238E27FC236}">
                <a16:creationId xmlns:a16="http://schemas.microsoft.com/office/drawing/2014/main" id="{21037700-F2C8-406B-9542-01AC025C8035}"/>
              </a:ext>
            </a:extLst>
          </p:cNvPr>
          <p:cNvGrpSpPr/>
          <p:nvPr/>
        </p:nvGrpSpPr>
        <p:grpSpPr>
          <a:xfrm>
            <a:off x="6041411" y="2202053"/>
            <a:ext cx="182985" cy="3384000"/>
            <a:chOff x="7088869" y="980441"/>
            <a:chExt cx="155732" cy="4020530"/>
          </a:xfrm>
        </p:grpSpPr>
        <p:cxnSp>
          <p:nvCxnSpPr>
            <p:cNvPr id="19" name="Google Shape;276;p4">
              <a:extLst>
                <a:ext uri="{FF2B5EF4-FFF2-40B4-BE49-F238E27FC236}">
                  <a16:creationId xmlns:a16="http://schemas.microsoft.com/office/drawing/2014/main" id="{61FBE0A4-F0C2-4233-823A-1814C73A0576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1270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20" name="Google Shape;277;p4">
              <a:extLst>
                <a:ext uri="{FF2B5EF4-FFF2-40B4-BE49-F238E27FC236}">
                  <a16:creationId xmlns:a16="http://schemas.microsoft.com/office/drawing/2014/main" id="{1B65C6E6-DCB4-4A4C-828A-7CA96445799F}"/>
                </a:ext>
              </a:extLst>
            </p:cNvPr>
            <p:cNvGrpSpPr/>
            <p:nvPr/>
          </p:nvGrpSpPr>
          <p:grpSpPr>
            <a:xfrm>
              <a:off x="7088869" y="2595985"/>
              <a:ext cx="155732" cy="789447"/>
              <a:chOff x="6846057" y="1968366"/>
              <a:chExt cx="200919" cy="802802"/>
            </a:xfrm>
          </p:grpSpPr>
          <p:sp>
            <p:nvSpPr>
              <p:cNvPr id="21" name="Google Shape;278;p4">
                <a:extLst>
                  <a:ext uri="{FF2B5EF4-FFF2-40B4-BE49-F238E27FC236}">
                    <a16:creationId xmlns:a16="http://schemas.microsoft.com/office/drawing/2014/main" id="{A1F68B8F-C356-4802-8E9F-5289BBEAC2CD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25" name="Google Shape;281;p4">
                <a:extLst>
                  <a:ext uri="{FF2B5EF4-FFF2-40B4-BE49-F238E27FC236}">
                    <a16:creationId xmlns:a16="http://schemas.microsoft.com/office/drawing/2014/main" id="{3635A287-D84D-4117-BA99-91034DC87787}"/>
                  </a:ext>
                </a:extLst>
              </p:cNvPr>
              <p:cNvSpPr/>
              <p:nvPr/>
            </p:nvSpPr>
            <p:spPr>
              <a:xfrm>
                <a:off x="6889073" y="2095154"/>
                <a:ext cx="157903" cy="549228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</p:grpSp>
      </p:grp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423341" y="6492875"/>
            <a:ext cx="2743200" cy="365125"/>
          </a:xfrm>
        </p:spPr>
        <p:txBody>
          <a:bodyPr/>
          <a:lstStyle/>
          <a:p>
            <a:fld id="{D915E965-280A-43D4-8620-968D601C1B32}" type="slidenum">
              <a:rPr lang="ru-RU" smtClean="0"/>
              <a:t>4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690C622-5AA4-E226-3534-B386B5248680}"/>
              </a:ext>
            </a:extLst>
          </p:cNvPr>
          <p:cNvSpPr txBox="1">
            <a:spLocks/>
          </p:cNvSpPr>
          <p:nvPr/>
        </p:nvSpPr>
        <p:spPr>
          <a:xfrm>
            <a:off x="704344" y="939269"/>
            <a:ext cx="7705360" cy="6073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 altLang="ru-RU" sz="1800" i="1" u="sng" dirty="0">
                <a:solidFill>
                  <a:srgbClr val="0070C0"/>
                </a:solidFill>
              </a:rPr>
              <a:t>Портфельное гарантирование на </a:t>
            </a:r>
            <a:r>
              <a:rPr lang="ru-RU" altLang="ru-RU" sz="1800" i="1" u="sng" dirty="0" err="1">
                <a:solidFill>
                  <a:srgbClr val="0070C0"/>
                </a:solidFill>
              </a:rPr>
              <a:t>ВПиУР</a:t>
            </a:r>
            <a:endParaRPr lang="ru-RU" altLang="ru-RU" sz="1800" i="1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5586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262</TotalTime>
  <Words>679</Words>
  <Application>Microsoft Office PowerPoint</Application>
  <PresentationFormat>Широкоэкранный</PresentationFormat>
  <Paragraphs>121</Paragraphs>
  <Slides>4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Century Gothic</vt:lpstr>
      <vt:lpstr>Times New Roman</vt:lpstr>
      <vt:lpstr>Тема Office</vt:lpstr>
      <vt:lpstr>Презентация PowerPoint</vt:lpstr>
      <vt:lpstr>Презентация PowerPoint</vt:lpstr>
      <vt:lpstr>Перечень отраслей по приоритетным проектам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</dc:title>
  <dc:creator>Абзал Ағыбайұлы Қуандық</dc:creator>
  <cp:lastModifiedBy>Камиля Жетписбаева</cp:lastModifiedBy>
  <cp:revision>782</cp:revision>
  <cp:lastPrinted>2024-01-25T12:25:24Z</cp:lastPrinted>
  <dcterms:created xsi:type="dcterms:W3CDTF">2023-03-01T03:39:42Z</dcterms:created>
  <dcterms:modified xsi:type="dcterms:W3CDTF">2025-06-23T05:05:55Z</dcterms:modified>
</cp:coreProperties>
</file>